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8"/>
    <p:sldMasterId id="2147483688" r:id="rId9"/>
    <p:sldMasterId id="2147483700" r:id="rId10"/>
    <p:sldMasterId id="2147483712" r:id="rId11"/>
  </p:sldMasterIdLst>
  <p:notesMasterIdLst>
    <p:notesMasterId r:id="rId22"/>
  </p:notesMasterIdLst>
  <p:sldIdLst>
    <p:sldId id="335" r:id="rId12"/>
    <p:sldId id="320" r:id="rId13"/>
    <p:sldId id="339" r:id="rId14"/>
    <p:sldId id="336" r:id="rId15"/>
    <p:sldId id="337" r:id="rId16"/>
    <p:sldId id="340" r:id="rId17"/>
    <p:sldId id="338" r:id="rId18"/>
    <p:sldId id="341" r:id="rId19"/>
    <p:sldId id="342" r:id="rId20"/>
    <p:sldId id="343" r:id="rId21"/>
  </p:sldIdLst>
  <p:sldSz cx="9144000" cy="5143500" type="screen16x9"/>
  <p:notesSz cx="6985000" cy="9283700"/>
  <p:custDataLst>
    <p:custData r:id="rId4"/>
    <p:custData r:id="rId3"/>
    <p:custData r:id="rId2"/>
    <p:custData r:id="rId5"/>
    <p:custData r:id="rId7"/>
    <p:custData r:id="rId1"/>
    <p:custData r:id="rId6"/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40">
          <p15:clr>
            <a:srgbClr val="A4A3A4"/>
          </p15:clr>
        </p15:guide>
        <p15:guide id="2" pos="2880">
          <p15:clr>
            <a:srgbClr val="A4A3A4"/>
          </p15:clr>
        </p15:guide>
        <p15:guide id="3" pos="756">
          <p15:clr>
            <a:srgbClr val="A4A3A4"/>
          </p15:clr>
        </p15:guide>
        <p15:guide id="4" pos="224">
          <p15:clr>
            <a:srgbClr val="A4A3A4"/>
          </p15:clr>
        </p15:guide>
        <p15:guide id="5" pos="553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4">
          <p15:clr>
            <a:srgbClr val="A4A3A4"/>
          </p15:clr>
        </p15:guide>
        <p15:guide id="2" pos="220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D98"/>
    <a:srgbClr val="4E8547"/>
    <a:srgbClr val="73A0D7"/>
    <a:srgbClr val="7C35B1"/>
    <a:srgbClr val="59ACB7"/>
    <a:srgbClr val="F8AB80"/>
    <a:srgbClr val="C00000"/>
    <a:srgbClr val="0098DB"/>
    <a:srgbClr val="3C7BC7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97" autoAdjust="0"/>
    <p:restoredTop sz="98548" autoAdjust="0"/>
  </p:normalViewPr>
  <p:slideViewPr>
    <p:cSldViewPr showGuides="1">
      <p:cViewPr>
        <p:scale>
          <a:sx n="150" d="100"/>
          <a:sy n="150" d="100"/>
        </p:scale>
        <p:origin x="-72" y="-72"/>
      </p:cViewPr>
      <p:guideLst>
        <p:guide orient="horz" pos="540"/>
        <p:guide pos="2880"/>
        <p:guide pos="756"/>
        <p:guide pos="224"/>
        <p:guide pos="55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1986" y="1194"/>
      </p:cViewPr>
      <p:guideLst>
        <p:guide orient="horz" pos="2924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tags" Target="tags/tag1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8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9" tIns="46480" rIns="92959" bIns="46480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9" tIns="46480" rIns="92959" bIns="46480" rtlCol="0"/>
          <a:lstStyle>
            <a:lvl1pPr algn="r">
              <a:defRPr sz="1300"/>
            </a:lvl1pPr>
          </a:lstStyle>
          <a:p>
            <a:fld id="{CB98B356-1702-4EBF-9E30-B4C469B023D2}" type="datetimeFigureOut">
              <a:rPr lang="en-US" smtClean="0"/>
              <a:t>04/2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12888" y="484188"/>
            <a:ext cx="3959225" cy="2227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9" tIns="46480" rIns="92959" bIns="464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3430" y="2785110"/>
            <a:ext cx="6499931" cy="6111769"/>
          </a:xfrm>
          <a:prstGeom prst="rect">
            <a:avLst/>
          </a:prstGeom>
        </p:spPr>
        <p:txBody>
          <a:bodyPr vert="horz" lIns="92959" tIns="46480" rIns="92959" bIns="4648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9" tIns="46480" rIns="92959" bIns="46480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9" tIns="46480" rIns="92959" bIns="46480" rtlCol="0" anchor="b"/>
          <a:lstStyle>
            <a:lvl1pPr algn="r">
              <a:defRPr sz="1300"/>
            </a:lvl1pPr>
          </a:lstStyle>
          <a:p>
            <a:fld id="{BE6FCD64-FDA0-481B-9779-FFE2483572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589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1200"/>
      </a:spcBef>
      <a:buFont typeface="Arial" panose="020B0604020202020204" pitchFamily="34" charset="0"/>
      <a:buChar char="​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42900" indent="-165100" algn="l" defTabSz="914400" rtl="0" eaLnBrk="1" latinLnBrk="0" hangingPunct="1">
      <a:spcAft>
        <a:spcPts val="400"/>
      </a:spcAft>
      <a:buFont typeface="Arial" panose="020B0604020202020204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3pPr>
    <a:lvl4pPr marL="571500" indent="-228600" algn="l" defTabSz="914400" rtl="0" eaLnBrk="1" latinLnBrk="0" hangingPunct="1">
      <a:spcAft>
        <a:spcPts val="400"/>
      </a:spcAft>
      <a:buFont typeface="Calibri" panose="020F0502020204030204" pitchFamily="34" charset="0"/>
      <a:buChar char="»"/>
      <a:defRPr sz="1050" kern="1200">
        <a:solidFill>
          <a:schemeClr val="tx1"/>
        </a:solidFill>
        <a:latin typeface="+mn-lt"/>
        <a:ea typeface="+mn-ea"/>
        <a:cs typeface="+mn-cs"/>
      </a:defRPr>
    </a:lvl4pPr>
    <a:lvl5pPr marL="742950" indent="-171450" algn="l" defTabSz="914400" rtl="0" eaLnBrk="1" latinLnBrk="0" hangingPunct="1">
      <a:spcAft>
        <a:spcPts val="400"/>
      </a:spcAft>
      <a:buFont typeface="Arial" panose="020B0604020202020204" pitchFamily="34" charset="0"/>
      <a:buChar char="•"/>
      <a:defRPr sz="105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6FCD64-FDA0-481B-9779-FFE248357248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879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040" y="0"/>
            <a:ext cx="4911960" cy="51435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34493" y="4176859"/>
            <a:ext cx="5579976" cy="190640"/>
          </a:xfrm>
        </p:spPr>
        <p:txBody>
          <a:bodyPr tIns="0" bIns="0" anchor="ctr" anchorCtr="0">
            <a:noAutofit/>
          </a:bodyPr>
          <a:lstStyle>
            <a:lvl1pPr marL="0" indent="0" algn="l">
              <a:buNone/>
              <a:defRPr>
                <a:solidFill>
                  <a:srgbClr val="2699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Overview–FCA Kickoff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947108" y="4410363"/>
            <a:ext cx="4086225" cy="35361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 smtClean="0"/>
              <a:t>Dat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95" r="39295" b="34873"/>
          <a:stretch/>
        </p:blipFill>
        <p:spPr>
          <a:xfrm>
            <a:off x="587470" y="812723"/>
            <a:ext cx="3642201" cy="239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86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90" y="3305101"/>
            <a:ext cx="7772703" cy="1021333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90" y="2961068"/>
            <a:ext cx="7772703" cy="344033"/>
          </a:xfrm>
        </p:spPr>
        <p:txBody>
          <a:bodyPr anchor="b"/>
          <a:lstStyle>
            <a:lvl1pPr marL="0" indent="0">
              <a:buNone/>
              <a:defRPr sz="1700"/>
            </a:lvl1pPr>
            <a:lvl2pPr marL="386105" indent="0">
              <a:buNone/>
              <a:defRPr sz="1500"/>
            </a:lvl2pPr>
            <a:lvl3pPr marL="772211" indent="0">
              <a:buNone/>
              <a:defRPr sz="1400"/>
            </a:lvl3pPr>
            <a:lvl4pPr marL="1158316" indent="0">
              <a:buNone/>
              <a:defRPr sz="1200"/>
            </a:lvl4pPr>
            <a:lvl5pPr marL="1544422" indent="0">
              <a:buNone/>
              <a:defRPr sz="1200"/>
            </a:lvl5pPr>
            <a:lvl6pPr marL="1930527" indent="0">
              <a:buNone/>
              <a:defRPr sz="1200"/>
            </a:lvl6pPr>
            <a:lvl7pPr marL="2316632" indent="0">
              <a:buNone/>
              <a:defRPr sz="1200"/>
            </a:lvl7pPr>
            <a:lvl8pPr marL="2702738" indent="0">
              <a:buNone/>
              <a:defRPr sz="1200"/>
            </a:lvl8pPr>
            <a:lvl9pPr marL="3088843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71958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9857" y="1089422"/>
            <a:ext cx="4064000" cy="22030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9000" y="1089422"/>
            <a:ext cx="4064000" cy="22030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267094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5" y="206499"/>
            <a:ext cx="823081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595" y="1240585"/>
            <a:ext cx="4041322" cy="39020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6105" indent="0">
              <a:buNone/>
              <a:defRPr sz="1700" b="1"/>
            </a:lvl2pPr>
            <a:lvl3pPr marL="772211" indent="0">
              <a:buNone/>
              <a:defRPr sz="1500" b="1"/>
            </a:lvl3pPr>
            <a:lvl4pPr marL="1158316" indent="0">
              <a:buNone/>
              <a:defRPr sz="1400" b="1"/>
            </a:lvl4pPr>
            <a:lvl5pPr marL="1544422" indent="0">
              <a:buNone/>
              <a:defRPr sz="1400" b="1"/>
            </a:lvl5pPr>
            <a:lvl6pPr marL="1930527" indent="0">
              <a:buNone/>
              <a:defRPr sz="1400" b="1"/>
            </a:lvl6pPr>
            <a:lvl7pPr marL="2316632" indent="0">
              <a:buNone/>
              <a:defRPr sz="1400" b="1"/>
            </a:lvl7pPr>
            <a:lvl8pPr marL="2702738" indent="0">
              <a:buNone/>
              <a:defRPr sz="1400" b="1"/>
            </a:lvl8pPr>
            <a:lvl9pPr marL="3088843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595" y="1630784"/>
            <a:ext cx="4041322" cy="161822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72" y="1240585"/>
            <a:ext cx="4042833" cy="39020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6105" indent="0">
              <a:buNone/>
              <a:defRPr sz="1700" b="1"/>
            </a:lvl2pPr>
            <a:lvl3pPr marL="772211" indent="0">
              <a:buNone/>
              <a:defRPr sz="1500" b="1"/>
            </a:lvl3pPr>
            <a:lvl4pPr marL="1158316" indent="0">
              <a:buNone/>
              <a:defRPr sz="1400" b="1"/>
            </a:lvl4pPr>
            <a:lvl5pPr marL="1544422" indent="0">
              <a:buNone/>
              <a:defRPr sz="1400" b="1"/>
            </a:lvl5pPr>
            <a:lvl6pPr marL="1930527" indent="0">
              <a:buNone/>
              <a:defRPr sz="1400" b="1"/>
            </a:lvl6pPr>
            <a:lvl7pPr marL="2316632" indent="0">
              <a:buNone/>
              <a:defRPr sz="1400" b="1"/>
            </a:lvl7pPr>
            <a:lvl8pPr marL="2702738" indent="0">
              <a:buNone/>
              <a:defRPr sz="1400" b="1"/>
            </a:lvl8pPr>
            <a:lvl9pPr marL="3088843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72" y="1630784"/>
            <a:ext cx="4042833" cy="161822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1310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524613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01783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6" y="204268"/>
            <a:ext cx="3008690" cy="871760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55" y="204267"/>
            <a:ext cx="5111750" cy="210451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96" y="1076027"/>
            <a:ext cx="3008690" cy="267089"/>
          </a:xfrm>
        </p:spPr>
        <p:txBody>
          <a:bodyPr/>
          <a:lstStyle>
            <a:lvl1pPr marL="0" indent="0">
              <a:buNone/>
              <a:defRPr sz="1200"/>
            </a:lvl1pPr>
            <a:lvl2pPr marL="386105" indent="0">
              <a:buNone/>
              <a:defRPr sz="1000"/>
            </a:lvl2pPr>
            <a:lvl3pPr marL="772211" indent="0">
              <a:buNone/>
              <a:defRPr sz="800"/>
            </a:lvl3pPr>
            <a:lvl4pPr marL="1158316" indent="0">
              <a:buNone/>
              <a:defRPr sz="800"/>
            </a:lvl4pPr>
            <a:lvl5pPr marL="1544422" indent="0">
              <a:buNone/>
              <a:defRPr sz="800"/>
            </a:lvl5pPr>
            <a:lvl6pPr marL="1930527" indent="0">
              <a:buNone/>
              <a:defRPr sz="800"/>
            </a:lvl6pPr>
            <a:lvl7pPr marL="2316632" indent="0">
              <a:buNone/>
              <a:defRPr sz="800"/>
            </a:lvl7pPr>
            <a:lvl8pPr marL="2702738" indent="0">
              <a:buNone/>
              <a:defRPr sz="800"/>
            </a:lvl8pPr>
            <a:lvl9pPr marL="3088843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9486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608" y="3600897"/>
            <a:ext cx="5486702" cy="424160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608" y="459879"/>
            <a:ext cx="5486702" cy="497921"/>
          </a:xfrm>
        </p:spPr>
        <p:txBody>
          <a:bodyPr/>
          <a:lstStyle>
            <a:lvl1pPr marL="0" indent="0">
              <a:buNone/>
              <a:defRPr sz="2700"/>
            </a:lvl1pPr>
            <a:lvl2pPr marL="386105" indent="0">
              <a:buNone/>
              <a:defRPr sz="2400"/>
            </a:lvl2pPr>
            <a:lvl3pPr marL="772211" indent="0">
              <a:buNone/>
              <a:defRPr sz="2000"/>
            </a:lvl3pPr>
            <a:lvl4pPr marL="1158316" indent="0">
              <a:buNone/>
              <a:defRPr sz="1700"/>
            </a:lvl4pPr>
            <a:lvl5pPr marL="1544422" indent="0">
              <a:buNone/>
              <a:defRPr sz="1700"/>
            </a:lvl5pPr>
            <a:lvl6pPr marL="1930527" indent="0">
              <a:buNone/>
              <a:defRPr sz="1700"/>
            </a:lvl6pPr>
            <a:lvl7pPr marL="2316632" indent="0">
              <a:buNone/>
              <a:defRPr sz="1700"/>
            </a:lvl7pPr>
            <a:lvl8pPr marL="2702738" indent="0">
              <a:buNone/>
              <a:defRPr sz="1700"/>
            </a:lvl8pPr>
            <a:lvl9pPr marL="3088843" indent="0">
              <a:buNone/>
              <a:defRPr sz="17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608" y="4025057"/>
            <a:ext cx="5486702" cy="267089"/>
          </a:xfrm>
        </p:spPr>
        <p:txBody>
          <a:bodyPr/>
          <a:lstStyle>
            <a:lvl1pPr marL="0" indent="0">
              <a:buNone/>
              <a:defRPr sz="1200"/>
            </a:lvl1pPr>
            <a:lvl2pPr marL="386105" indent="0">
              <a:buNone/>
              <a:defRPr sz="1000"/>
            </a:lvl2pPr>
            <a:lvl3pPr marL="772211" indent="0">
              <a:buNone/>
              <a:defRPr sz="800"/>
            </a:lvl3pPr>
            <a:lvl4pPr marL="1158316" indent="0">
              <a:buNone/>
              <a:defRPr sz="800"/>
            </a:lvl4pPr>
            <a:lvl5pPr marL="1544422" indent="0">
              <a:buNone/>
              <a:defRPr sz="800"/>
            </a:lvl5pPr>
            <a:lvl6pPr marL="1930527" indent="0">
              <a:buNone/>
              <a:defRPr sz="800"/>
            </a:lvl6pPr>
            <a:lvl7pPr marL="2316632" indent="0">
              <a:buNone/>
              <a:defRPr sz="800"/>
            </a:lvl7pPr>
            <a:lvl8pPr marL="2702738" indent="0">
              <a:buNone/>
              <a:defRPr sz="800"/>
            </a:lvl8pPr>
            <a:lvl9pPr marL="3088843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104508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06" y="1089422"/>
            <a:ext cx="4476794" cy="183982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6650042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6810" y="0"/>
            <a:ext cx="2133298" cy="2519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31642" y="0"/>
            <a:ext cx="2230025" cy="25192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200078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0" y="0"/>
            <a:ext cx="9141293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2697" y="3847775"/>
            <a:ext cx="7772400" cy="480060"/>
          </a:xfrm>
        </p:spPr>
        <p:txBody>
          <a:bodyPr anchor="t" anchorCtr="0">
            <a:noAutofit/>
          </a:bodyPr>
          <a:lstStyle>
            <a:lvl1pPr algn="l">
              <a:defRPr sz="1900" b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02697" y="4591418"/>
            <a:ext cx="6400800" cy="48006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5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0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26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0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77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52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03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194" y="4617087"/>
            <a:ext cx="1660753" cy="36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600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9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" y="4003177"/>
            <a:ext cx="9241277" cy="15635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026" y="653576"/>
            <a:ext cx="8609927" cy="410565"/>
          </a:xfrm>
        </p:spPr>
        <p:txBody>
          <a:bodyPr wrap="square" lIns="71312" tIns="35657" rIns="71312" bIns="35657" anchor="b" anchorCtr="0">
            <a:spAutoFit/>
          </a:bodyPr>
          <a:lstStyle>
            <a:lvl1pPr algn="l">
              <a:defRPr sz="2200" b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3026" y="1164342"/>
            <a:ext cx="8609927" cy="1059460"/>
          </a:xfrm>
        </p:spPr>
        <p:txBody>
          <a:bodyPr wrap="square" lIns="71312" tIns="35657" rIns="71312" bIns="35657">
            <a:spAutoFit/>
          </a:bodyPr>
          <a:lstStyle>
            <a:lvl1pPr marL="0" indent="0">
              <a:lnSpc>
                <a:spcPts val="2912"/>
              </a:lnSpc>
              <a:buNone/>
              <a:defRPr sz="1900" b="1">
                <a:solidFill>
                  <a:srgbClr val="00733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97551" indent="-181578">
              <a:spcBef>
                <a:spcPts val="624"/>
              </a:spcBef>
              <a:buClr>
                <a:srgbClr val="007336"/>
              </a:buClr>
              <a:buFont typeface="Wingdings" panose="05000000000000000000" pitchFamily="2" charset="2"/>
              <a:buChar char="§"/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69224" indent="-171672"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169" y="4269555"/>
            <a:ext cx="1108916" cy="248313"/>
          </a:xfrm>
          <a:prstGeom prst="rect">
            <a:avLst/>
          </a:prstGeom>
        </p:spPr>
      </p:pic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31252" y="4997049"/>
            <a:ext cx="5563810" cy="227707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Fidelity Internal Information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323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040" y="0"/>
            <a:ext cx="4911960" cy="51435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34493" y="4176859"/>
            <a:ext cx="5579976" cy="190640"/>
          </a:xfrm>
        </p:spPr>
        <p:txBody>
          <a:bodyPr tIns="0" bIns="0" anchor="ctr" anchorCtr="0">
            <a:noAutofit/>
          </a:bodyPr>
          <a:lstStyle>
            <a:lvl1pPr marL="0" indent="0" algn="l">
              <a:buNone/>
              <a:defRPr>
                <a:solidFill>
                  <a:srgbClr val="2699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Overview–FCA Kickoff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947108" y="4410363"/>
            <a:ext cx="4086225" cy="35361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 smtClean="0"/>
              <a:t>Dat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95" r="39295" b="34873"/>
          <a:stretch/>
        </p:blipFill>
        <p:spPr>
          <a:xfrm>
            <a:off x="587470" y="812723"/>
            <a:ext cx="3642201" cy="239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03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34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1314" y="1209675"/>
            <a:ext cx="8445500" cy="35134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1314" y="857250"/>
            <a:ext cx="8445500" cy="3429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71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416" y="3749"/>
            <a:ext cx="7586663" cy="61673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1314" y="857250"/>
            <a:ext cx="8445500" cy="3429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87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1314" y="1209675"/>
            <a:ext cx="4176713" cy="35134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1314" y="857250"/>
            <a:ext cx="8445500" cy="3429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4610100" y="1209675"/>
            <a:ext cx="4176713" cy="35134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99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30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4505" y="-874642"/>
            <a:ext cx="11535138" cy="6490252"/>
          </a:xfrm>
          <a:prstGeom prst="rect">
            <a:avLst/>
          </a:prstGeom>
        </p:spPr>
      </p:pic>
      <p:sp>
        <p:nvSpPr>
          <p:cNvPr id="2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13920000">
            <a:off x="7682861" y="3771583"/>
            <a:ext cx="1718698" cy="1698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18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1314" y="1209675"/>
            <a:ext cx="8445500" cy="35134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1314" y="857250"/>
            <a:ext cx="8445500" cy="3429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96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416" y="3749"/>
            <a:ext cx="7586663" cy="61673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1314" y="857250"/>
            <a:ext cx="8445500" cy="3429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29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1314" y="1209675"/>
            <a:ext cx="4176713" cy="35134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1314" y="857250"/>
            <a:ext cx="8445500" cy="34290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8575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4610100" y="1209675"/>
            <a:ext cx="4176713" cy="351349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1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46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4505" y="-874642"/>
            <a:ext cx="11535138" cy="6490252"/>
          </a:xfrm>
          <a:prstGeom prst="rect">
            <a:avLst/>
          </a:prstGeom>
        </p:spPr>
      </p:pic>
      <p:sp>
        <p:nvSpPr>
          <p:cNvPr id="2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13920000">
            <a:off x="7682861" y="3771583"/>
            <a:ext cx="1718698" cy="1698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43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8183"/>
            <a:ext cx="9144000" cy="4325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143" y="4257229"/>
            <a:ext cx="2112131" cy="555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5345" y="1012404"/>
            <a:ext cx="8103810" cy="395139"/>
          </a:xfrm>
        </p:spPr>
        <p:txBody>
          <a:bodyPr anchor="b"/>
          <a:lstStyle>
            <a:lvl1pPr>
              <a:defRPr sz="1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91155" y="1458889"/>
            <a:ext cx="8170333" cy="559477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100"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352274" y="4800824"/>
            <a:ext cx="5563810" cy="227707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755312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1327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0.w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heme" Target="../theme/theme3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0486"/>
          </a:xfrm>
          <a:prstGeom prst="rect">
            <a:avLst/>
          </a:prstGeom>
          <a:gradFill>
            <a:gsLst>
              <a:gs pos="0">
                <a:srgbClr val="E1E1E1"/>
              </a:gs>
              <a:gs pos="50000">
                <a:srgbClr val="EFEFEF"/>
              </a:gs>
              <a:gs pos="100000">
                <a:srgbClr val="DFDF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41124" y="3749"/>
            <a:ext cx="7586663" cy="6167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492" y="843198"/>
            <a:ext cx="8445500" cy="38799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5" y="-3396"/>
            <a:ext cx="871619" cy="84520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74650" y="4899595"/>
            <a:ext cx="19748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bg2"/>
                </a:solidFill>
              </a:rPr>
              <a:t>Fidelity</a:t>
            </a:r>
            <a:r>
              <a:rPr lang="en-US" sz="1050" baseline="0" dirty="0" smtClean="0">
                <a:solidFill>
                  <a:schemeClr val="bg2"/>
                </a:solidFill>
              </a:rPr>
              <a:t> Internal Information</a:t>
            </a:r>
            <a:endParaRPr lang="en-US" sz="1050" dirty="0">
              <a:solidFill>
                <a:schemeClr val="bg2"/>
              </a:solidFill>
            </a:endParaRPr>
          </a:p>
        </p:txBody>
      </p:sp>
      <p:sp>
        <p:nvSpPr>
          <p:cNvPr id="21" name="Donut 17"/>
          <p:cNvSpPr/>
          <p:nvPr/>
        </p:nvSpPr>
        <p:spPr>
          <a:xfrm>
            <a:off x="115947" y="4884538"/>
            <a:ext cx="303946" cy="205383"/>
          </a:xfrm>
          <a:custGeom>
            <a:avLst/>
            <a:gdLst/>
            <a:ahLst/>
            <a:cxnLst/>
            <a:rect l="l" t="t" r="r" b="b"/>
            <a:pathLst>
              <a:path w="303946" h="273844">
                <a:moveTo>
                  <a:pt x="8882" y="0"/>
                </a:moveTo>
                <a:cubicBezTo>
                  <a:pt x="165173" y="0"/>
                  <a:pt x="293311" y="120544"/>
                  <a:pt x="303946" y="273844"/>
                </a:cubicBezTo>
                <a:lnTo>
                  <a:pt x="293119" y="273844"/>
                </a:lnTo>
                <a:cubicBezTo>
                  <a:pt x="282475" y="126529"/>
                  <a:pt x="159191" y="10827"/>
                  <a:pt x="8882" y="10827"/>
                </a:cubicBezTo>
                <a:lnTo>
                  <a:pt x="0" y="11723"/>
                </a:lnTo>
                <a:lnTo>
                  <a:pt x="0" y="896"/>
                </a:lnTo>
                <a:cubicBezTo>
                  <a:pt x="2935" y="44"/>
                  <a:pt x="5903" y="0"/>
                  <a:pt x="8882" y="0"/>
                </a:cubicBezTo>
                <a:close/>
              </a:path>
            </a:pathLst>
          </a:custGeom>
          <a:gradFill flip="none" rotWithShape="1">
            <a:gsLst>
              <a:gs pos="70000">
                <a:schemeClr val="bg1">
                  <a:lumMod val="75000"/>
                </a:schemeClr>
              </a:gs>
              <a:gs pos="37000">
                <a:schemeClr val="bg1">
                  <a:lumMod val="75000"/>
                </a:schemeClr>
              </a:gs>
              <a:gs pos="99583">
                <a:schemeClr val="bg1"/>
              </a:gs>
              <a:gs pos="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409" y="4722601"/>
            <a:ext cx="1371600" cy="2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141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4" r:id="rId6"/>
    <p:sldLayoutId id="2147483655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Clr>
          <a:schemeClr val="accent1"/>
        </a:buClr>
        <a:buFont typeface="Arial" panose="020B0604020202020204" pitchFamily="34" charset="0"/>
        <a:buChar char="​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9400" indent="-217488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69913" indent="-22860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55663" indent="-22860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4263" indent="-231775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97830"/>
            <a:ext cx="9144000" cy="473273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0"/>
            <a:ext cx="9144000" cy="737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03894" y="0"/>
            <a:ext cx="8536214" cy="742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1625" tIns="40813" rIns="81625" bIns="408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9857" y="1089422"/>
            <a:ext cx="8273143" cy="1839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1625" tIns="40813" rIns="81625" bIns="4081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67" y="687586"/>
            <a:ext cx="571500" cy="23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334" y="4796359"/>
            <a:ext cx="1303262" cy="248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2274" y="4827613"/>
            <a:ext cx="5563810" cy="227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625" tIns="40813" rIns="81625" bIns="4081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Fidelity Confidential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64370" y="4909096"/>
            <a:ext cx="0" cy="24891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69548" y="4700364"/>
            <a:ext cx="32354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25" tIns="40813" rIns="81625" bIns="40813" anchor="b"/>
          <a:lstStyle>
            <a:lvl1pPr defTabSz="9667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30000"/>
              </a:spcAft>
            </a:pPr>
            <a:fld id="{05DE0F9D-8491-4151-AC1A-728E31ACA4E8}" type="slidenum">
              <a:rPr lang="en-US" altLang="en-US" sz="800">
                <a:solidFill>
                  <a:srgbClr val="808080"/>
                </a:solidFill>
              </a:rPr>
              <a:pPr eaLnBrk="1" fontAlgn="base" hangingPunct="1">
                <a:spcBef>
                  <a:spcPct val="0"/>
                </a:spcBef>
                <a:spcAft>
                  <a:spcPct val="30000"/>
                </a:spcAft>
              </a:pPr>
              <a:t>‹#›</a:t>
            </a:fld>
            <a:endParaRPr lang="en-US" altLang="en-US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112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16452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+mj-lt"/>
          <a:ea typeface="ＭＳ Ｐゴシック" charset="0"/>
          <a:cs typeface="ＭＳ Ｐゴシック" charset="0"/>
        </a:defRPr>
      </a:lvl1pPr>
      <a:lvl2pPr algn="l" defTabSz="816452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  <a:ea typeface="ＭＳ Ｐゴシック" charset="0"/>
          <a:cs typeface="ＭＳ Ｐゴシック" charset="0"/>
        </a:defRPr>
      </a:lvl2pPr>
      <a:lvl3pPr algn="l" defTabSz="816452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  <a:ea typeface="ＭＳ Ｐゴシック" charset="0"/>
          <a:cs typeface="ＭＳ Ｐゴシック" charset="0"/>
        </a:defRPr>
      </a:lvl3pPr>
      <a:lvl4pPr algn="l" defTabSz="816452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  <a:ea typeface="ＭＳ Ｐゴシック" charset="0"/>
          <a:cs typeface="ＭＳ Ｐゴシック" charset="0"/>
        </a:defRPr>
      </a:lvl4pPr>
      <a:lvl5pPr algn="l" defTabSz="816452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  <a:ea typeface="ＭＳ Ｐゴシック" charset="0"/>
          <a:cs typeface="ＭＳ Ｐゴシック" charset="0"/>
        </a:defRPr>
      </a:lvl5pPr>
      <a:lvl6pPr marL="386105" algn="l" defTabSz="816452" rtl="0" fontAlgn="base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</a:defRPr>
      </a:lvl6pPr>
      <a:lvl7pPr marL="772211" algn="l" defTabSz="816452" rtl="0" fontAlgn="base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</a:defRPr>
      </a:lvl7pPr>
      <a:lvl8pPr marL="1158316" algn="l" defTabSz="816452" rtl="0" fontAlgn="base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</a:defRPr>
      </a:lvl8pPr>
      <a:lvl9pPr marL="1544422" algn="l" defTabSz="816452" rtl="0" fontAlgn="base">
        <a:spcBef>
          <a:spcPct val="0"/>
        </a:spcBef>
        <a:spcAft>
          <a:spcPct val="0"/>
        </a:spcAft>
        <a:defRPr sz="2000" b="1">
          <a:solidFill>
            <a:srgbClr val="006600"/>
          </a:solidFill>
          <a:latin typeface="Arial" pitchFamily="34" charset="0"/>
        </a:defRPr>
      </a:lvl9pPr>
    </p:titleStyle>
    <p:bodyStyle>
      <a:lvl1pPr marL="238635" indent="-238635" algn="l" defTabSz="81645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2000">
          <a:solidFill>
            <a:srgbClr val="000000"/>
          </a:solidFill>
          <a:latin typeface="+mn-lt"/>
          <a:ea typeface="ＭＳ Ｐゴシック" charset="0"/>
          <a:cs typeface="ＭＳ Ｐゴシック" charset="0"/>
        </a:defRPr>
      </a:lvl1pPr>
      <a:lvl2pPr marL="576477" indent="-186350" algn="l" defTabSz="81645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900">
          <a:solidFill>
            <a:srgbClr val="000000"/>
          </a:solidFill>
          <a:latin typeface="+mn-lt"/>
          <a:ea typeface="ＭＳ Ｐゴシック" charset="0"/>
        </a:defRPr>
      </a:lvl2pPr>
      <a:lvl3pPr marL="870078" indent="-175625" algn="l" defTabSz="81645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pitchFamily="34" charset="0"/>
        <a:buChar char="–"/>
        <a:defRPr sz="1700">
          <a:solidFill>
            <a:srgbClr val="000000"/>
          </a:solidFill>
          <a:latin typeface="+mn-lt"/>
          <a:ea typeface="ＭＳ Ｐゴシック" charset="0"/>
        </a:defRPr>
      </a:lvl3pPr>
      <a:lvl4pPr marL="1163679" indent="-154174" algn="l" defTabSz="81645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  <a:ea typeface="ＭＳ Ｐゴシック" charset="0"/>
        </a:defRPr>
      </a:lvl4pPr>
      <a:lvl5pPr marL="1446555" indent="-135405" algn="l" defTabSz="81645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  <a:ea typeface="ＭＳ Ｐゴシック" charset="0"/>
        </a:defRPr>
      </a:lvl5pPr>
      <a:lvl6pPr marL="1832660" indent="-135405" algn="l" defTabSz="81645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218766" indent="-135405" algn="l" defTabSz="81645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2604871" indent="-135405" algn="l" defTabSz="81645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2990977" indent="-135405" algn="l" defTabSz="81645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6105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2211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8316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422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30527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16632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02738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88843" algn="l" defTabSz="77221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97233710"/>
              </p:ext>
            </p:extLst>
          </p:nvPr>
        </p:nvGraphicFramePr>
        <p:xfrm>
          <a:off x="1591" y="1433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433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91109"/>
            <a:ext cx="8229600" cy="472120"/>
          </a:xfrm>
          <a:prstGeom prst="rect">
            <a:avLst/>
          </a:prstGeom>
        </p:spPr>
        <p:txBody>
          <a:bodyPr vert="horz" wrap="square" lIns="71312" tIns="35657" rIns="71312" bIns="35657" rtlCol="0" anchor="b" anchorCtr="0">
            <a:spAutoFit/>
          </a:bodyPr>
          <a:lstStyle/>
          <a:p>
            <a:pPr lvl="0" algn="l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8"/>
            <a:ext cx="8229600" cy="1687324"/>
          </a:xfrm>
          <a:prstGeom prst="rect">
            <a:avLst/>
          </a:prstGeom>
        </p:spPr>
        <p:txBody>
          <a:bodyPr vert="horz" wrap="square" lIns="71312" tIns="35657" rIns="71312" bIns="35657" rtlCol="0">
            <a:spAutoFit/>
          </a:bodyPr>
          <a:lstStyle/>
          <a:p>
            <a:pPr marL="0" lvl="0" indent="0">
              <a:lnSpc>
                <a:spcPts val="2912"/>
              </a:lnSpc>
              <a:buNone/>
            </a:pPr>
            <a:r>
              <a:rPr lang="en-US" dirty="0" smtClean="0"/>
              <a:t>Click to edit Master text styles</a:t>
            </a:r>
          </a:p>
          <a:p>
            <a:pPr marL="597551" lvl="1" indent="-181578">
              <a:spcBef>
                <a:spcPts val="624"/>
              </a:spcBef>
              <a:buClr>
                <a:srgbClr val="007336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Second level</a:t>
            </a:r>
          </a:p>
          <a:p>
            <a:pPr marL="769224" lvl="2" indent="-17167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" y="4003177"/>
            <a:ext cx="9241277" cy="1563534"/>
          </a:xfrm>
          <a:prstGeom prst="rect">
            <a:avLst/>
          </a:prstGeom>
        </p:spPr>
      </p:pic>
      <p:pic>
        <p:nvPicPr>
          <p:cNvPr id="6" name="Picture 5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169" y="4269555"/>
            <a:ext cx="1108916" cy="248313"/>
          </a:xfrm>
          <a:prstGeom prst="rect">
            <a:avLst/>
          </a:prstGeom>
        </p:spPr>
      </p:pic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31252" y="4997049"/>
            <a:ext cx="5563810" cy="227707"/>
          </a:xfrm>
          <a:prstGeom prst="rect">
            <a:avLst/>
          </a:prstGeom>
        </p:spPr>
        <p:txBody>
          <a:bodyPr lIns="91425" tIns="45712" rIns="91425" bIns="45712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white"/>
                </a:solidFill>
                <a:ea typeface="ＭＳ Ｐゴシック" charset="0"/>
              </a:rPr>
              <a:t>Fidelity Internal Information</a:t>
            </a:r>
            <a:endParaRPr lang="en-US" dirty="0">
              <a:solidFill>
                <a:prstClr val="white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8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50801" rtl="0" eaLnBrk="1" latinLnBrk="0" hangingPunct="1">
        <a:spcBef>
          <a:spcPct val="0"/>
        </a:spcBef>
        <a:buNone/>
        <a:defRPr lang="en-US" sz="2600" b="1" kern="1200" dirty="0">
          <a:solidFill>
            <a:srgbClr val="1C1C1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56550" indent="-356550" algn="l" defTabSz="950801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1900" b="1" kern="1200" smtClean="0">
          <a:solidFill>
            <a:srgbClr val="00733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96741" indent="-596741" algn="l" defTabSz="950801" rtl="0" eaLnBrk="1" latinLnBrk="0" hangingPunct="1">
        <a:spcBef>
          <a:spcPct val="20000"/>
        </a:spcBef>
        <a:buFont typeface="Arial" panose="020B0604020202020204" pitchFamily="34" charset="0"/>
        <a:buChar char="–"/>
        <a:defRPr lang="en-US" sz="17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88501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15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63899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–"/>
        <a:defRPr lang="en-US" sz="17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39301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»"/>
        <a:defRPr lang="en-US" sz="1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614700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90100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502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40900" indent="-237699" algn="l" defTabSz="95080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5400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0801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6200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01600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7001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52401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7801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03201" algn="l" defTabSz="9508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0486"/>
          </a:xfrm>
          <a:prstGeom prst="rect">
            <a:avLst/>
          </a:prstGeom>
          <a:gradFill>
            <a:gsLst>
              <a:gs pos="0">
                <a:srgbClr val="E1E1E1"/>
              </a:gs>
              <a:gs pos="50000">
                <a:srgbClr val="EFEFEF"/>
              </a:gs>
              <a:gs pos="100000">
                <a:srgbClr val="DFDF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41124" y="3749"/>
            <a:ext cx="7586663" cy="6167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492" y="843198"/>
            <a:ext cx="8445500" cy="38799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5" y="-3396"/>
            <a:ext cx="871619" cy="84520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74650" y="4899595"/>
            <a:ext cx="19748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8C8C8C"/>
                </a:solidFill>
              </a:rPr>
              <a:t>Fidelity Internal Information</a:t>
            </a:r>
            <a:endParaRPr lang="en-US" sz="1050" dirty="0">
              <a:solidFill>
                <a:srgbClr val="8C8C8C"/>
              </a:solidFill>
            </a:endParaRPr>
          </a:p>
        </p:txBody>
      </p:sp>
      <p:sp>
        <p:nvSpPr>
          <p:cNvPr id="21" name="Donut 17"/>
          <p:cNvSpPr/>
          <p:nvPr/>
        </p:nvSpPr>
        <p:spPr>
          <a:xfrm>
            <a:off x="115947" y="4884538"/>
            <a:ext cx="303946" cy="205383"/>
          </a:xfrm>
          <a:custGeom>
            <a:avLst/>
            <a:gdLst/>
            <a:ahLst/>
            <a:cxnLst/>
            <a:rect l="l" t="t" r="r" b="b"/>
            <a:pathLst>
              <a:path w="303946" h="273844">
                <a:moveTo>
                  <a:pt x="8882" y="0"/>
                </a:moveTo>
                <a:cubicBezTo>
                  <a:pt x="165173" y="0"/>
                  <a:pt x="293311" y="120544"/>
                  <a:pt x="303946" y="273844"/>
                </a:cubicBezTo>
                <a:lnTo>
                  <a:pt x="293119" y="273844"/>
                </a:lnTo>
                <a:cubicBezTo>
                  <a:pt x="282475" y="126529"/>
                  <a:pt x="159191" y="10827"/>
                  <a:pt x="8882" y="10827"/>
                </a:cubicBezTo>
                <a:lnTo>
                  <a:pt x="0" y="11723"/>
                </a:lnTo>
                <a:lnTo>
                  <a:pt x="0" y="896"/>
                </a:lnTo>
                <a:cubicBezTo>
                  <a:pt x="2935" y="44"/>
                  <a:pt x="5903" y="0"/>
                  <a:pt x="8882" y="0"/>
                </a:cubicBezTo>
                <a:close/>
              </a:path>
            </a:pathLst>
          </a:custGeom>
          <a:gradFill flip="none" rotWithShape="1">
            <a:gsLst>
              <a:gs pos="70000">
                <a:schemeClr val="bg1">
                  <a:lumMod val="75000"/>
                </a:schemeClr>
              </a:gs>
              <a:gs pos="37000">
                <a:schemeClr val="bg1">
                  <a:lumMod val="75000"/>
                </a:schemeClr>
              </a:gs>
              <a:gs pos="99583">
                <a:schemeClr val="bg1"/>
              </a:gs>
              <a:gs pos="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9049" y="4860778"/>
            <a:ext cx="377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2"/>
                </a:solidFill>
              </a:defRPr>
            </a:lvl1pPr>
          </a:lstStyle>
          <a:p>
            <a:fld id="{517D110F-CC32-4C2A-B926-9321335ABEAA}" type="slidenum">
              <a:rPr lang="en-US" smtClean="0">
                <a:solidFill>
                  <a:srgbClr val="8C8C8C"/>
                </a:solidFill>
              </a:rPr>
              <a:pPr/>
              <a:t>‹#›</a:t>
            </a:fld>
            <a:endParaRPr lang="en-US" dirty="0">
              <a:solidFill>
                <a:srgbClr val="8C8C8C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409" y="4722601"/>
            <a:ext cx="1371600" cy="2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111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Clr>
          <a:schemeClr val="accent1"/>
        </a:buClr>
        <a:buFont typeface="Arial" panose="020B0604020202020204" pitchFamily="34" charset="0"/>
        <a:buChar char="​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9400" indent="-217488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69913" indent="-22860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55663" indent="-228600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4263" indent="-231775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81000" y="3181350"/>
            <a:ext cx="4114800" cy="1295400"/>
          </a:xfrm>
        </p:spPr>
        <p:txBody>
          <a:bodyPr/>
          <a:lstStyle/>
          <a:p>
            <a:r>
              <a:rPr lang="en-US" b="1" dirty="0" smtClean="0"/>
              <a:t>DP Build and Deployment</a:t>
            </a:r>
          </a:p>
          <a:p>
            <a:r>
              <a:rPr lang="en-US" b="1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Digital Platform Engineering</a:t>
            </a:r>
          </a:p>
          <a:p>
            <a:r>
              <a:rPr lang="en-US" b="1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2016</a:t>
            </a:r>
            <a:endParaRPr lang="en-US" b="1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73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3600" y="92761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Quick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0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33600" y="742950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tinuous Deliver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63600" y="1276350"/>
            <a:ext cx="6094938" cy="2000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200" dirty="0" smtClean="0"/>
              <a:t>Code and commi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000" dirty="0" smtClean="0"/>
              <a:t>Write code and push to Stash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 smtClean="0"/>
              <a:t>Buil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000" dirty="0" smtClean="0"/>
              <a:t>WSO2 ESB artifac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C</a:t>
            </a:r>
            <a:r>
              <a:rPr lang="en-US" sz="1200" dirty="0" smtClean="0"/>
              <a:t>ompile and packag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000" dirty="0" smtClean="0"/>
              <a:t>WSO2 Dev Studio/Mave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 smtClean="0"/>
              <a:t>Automat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000" dirty="0" smtClean="0"/>
              <a:t>Jenki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 smtClean="0"/>
              <a:t>Install and Deploy on a real box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000" dirty="0" smtClean="0"/>
              <a:t>IBM </a:t>
            </a:r>
            <a:r>
              <a:rPr lang="en-US" sz="1000" dirty="0" err="1" smtClean="0"/>
              <a:t>UrbanCode</a:t>
            </a:r>
            <a:r>
              <a:rPr lang="en-US" sz="1000" dirty="0" smtClean="0"/>
              <a:t> Deploy (But we are moving to </a:t>
            </a:r>
            <a:r>
              <a:rPr lang="en-US" sz="1000" dirty="0" err="1" smtClean="0"/>
              <a:t>Docker</a:t>
            </a:r>
            <a:r>
              <a:rPr lang="en-US" sz="1000" dirty="0" smtClean="0"/>
              <a:t> soon, but not production ready yet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1309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924" y="12627"/>
            <a:ext cx="7586663" cy="616737"/>
          </a:xfrm>
        </p:spPr>
        <p:txBody>
          <a:bodyPr/>
          <a:lstStyle/>
          <a:p>
            <a:r>
              <a:rPr lang="en-US" dirty="0" err="1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-57151" y="4869656"/>
            <a:ext cx="377825" cy="273844"/>
          </a:xfrm>
        </p:spPr>
        <p:txBody>
          <a:bodyPr/>
          <a:lstStyle/>
          <a:p>
            <a:fld id="{517D110F-CC32-4C2A-B926-9321335ABEA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057400" y="751828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tinuous Delivery</a:t>
            </a:r>
            <a:endParaRPr lang="en-US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99" y="1276350"/>
            <a:ext cx="6985407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295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981200" y="742950"/>
            <a:ext cx="286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iling and Packaging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90600" y="1276350"/>
            <a:ext cx="4572085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Let’s have a quick deep look in..</a:t>
            </a:r>
          </a:p>
          <a:p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hat we compi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SO2 ESB XML configurations, Java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very business domain should maintain a separate </a:t>
            </a:r>
          </a:p>
          <a:p>
            <a:r>
              <a:rPr lang="en-US" sz="1400" dirty="0"/>
              <a:t> </a:t>
            </a:r>
            <a:r>
              <a:rPr lang="en-US" sz="1400" dirty="0" smtClean="0"/>
              <a:t>     project directory to keep their source c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3092232"/>
            <a:ext cx="3657600" cy="1294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219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3600" y="92761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iling and Packaging </a:t>
            </a:r>
            <a:r>
              <a:rPr lang="en-US" dirty="0" err="1" smtClean="0"/>
              <a:t>C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371600" y="1542514"/>
            <a:ext cx="5331716" cy="36009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Quick zoom in to a business domain 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Project Structure for brokerage domain: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 err="1" smtClean="0"/>
              <a:t>fmr</a:t>
            </a:r>
            <a:r>
              <a:rPr lang="en-US" sz="1200" dirty="0" smtClean="0"/>
              <a:t>-</a:t>
            </a:r>
            <a:r>
              <a:rPr lang="en-US" sz="1200" dirty="0" err="1" smtClean="0"/>
              <a:t>dp</a:t>
            </a:r>
            <a:r>
              <a:rPr lang="en-US" sz="1200" dirty="0" smtClean="0"/>
              <a:t>-brokerage 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1200" dirty="0" err="1" smtClean="0"/>
              <a:t>fmr</a:t>
            </a:r>
            <a:r>
              <a:rPr lang="en-US" sz="1200" dirty="0" smtClean="0"/>
              <a:t>-</a:t>
            </a:r>
            <a:r>
              <a:rPr lang="en-US" sz="1200" dirty="0" err="1" smtClean="0"/>
              <a:t>dp</a:t>
            </a:r>
            <a:r>
              <a:rPr lang="en-US" sz="1200" dirty="0" smtClean="0"/>
              <a:t>-</a:t>
            </a:r>
            <a:r>
              <a:rPr lang="en-US" sz="1200" dirty="0" err="1" smtClean="0"/>
              <a:t>brkg</a:t>
            </a:r>
            <a:r>
              <a:rPr lang="en-US" sz="1200" dirty="0" smtClean="0"/>
              <a:t>-</a:t>
            </a:r>
            <a:r>
              <a:rPr lang="en-US" sz="1200" b="1" dirty="0" smtClean="0"/>
              <a:t>core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1200" dirty="0" err="1" smtClean="0"/>
              <a:t>fmr</a:t>
            </a:r>
            <a:r>
              <a:rPr lang="en-US" sz="1200" dirty="0" smtClean="0"/>
              <a:t>-</a:t>
            </a:r>
            <a:r>
              <a:rPr lang="en-US" sz="1200" dirty="0" err="1" smtClean="0"/>
              <a:t>dp</a:t>
            </a:r>
            <a:r>
              <a:rPr lang="en-US" sz="1200" dirty="0" smtClean="0"/>
              <a:t>-</a:t>
            </a:r>
            <a:r>
              <a:rPr lang="en-US" sz="1200" dirty="0" err="1"/>
              <a:t>brkg</a:t>
            </a:r>
            <a:r>
              <a:rPr lang="en-US" sz="1200" dirty="0" smtClean="0"/>
              <a:t>-</a:t>
            </a:r>
            <a:r>
              <a:rPr lang="en-US" sz="1200" b="1" dirty="0" smtClean="0"/>
              <a:t>app</a:t>
            </a:r>
            <a:endParaRPr lang="en-US" sz="1200" dirty="0" smtClean="0"/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1200" dirty="0" err="1" smtClean="0"/>
              <a:t>fmr-dp-</a:t>
            </a:r>
            <a:r>
              <a:rPr lang="en-US" sz="1200" dirty="0" err="1"/>
              <a:t>brkg</a:t>
            </a:r>
            <a:r>
              <a:rPr lang="en-US" sz="1200" dirty="0" err="1" smtClean="0"/>
              <a:t>-</a:t>
            </a:r>
            <a:r>
              <a:rPr lang="en-US" sz="1200" b="1" dirty="0" err="1" smtClean="0">
                <a:solidFill>
                  <a:srgbClr val="FF0000"/>
                </a:solidFill>
              </a:rPr>
              <a:t>dist</a:t>
            </a:r>
            <a:endParaRPr lang="en-US" sz="1200" b="1" dirty="0" smtClean="0">
              <a:solidFill>
                <a:srgbClr val="FF0000"/>
              </a:solidFill>
            </a:endParaRPr>
          </a:p>
          <a:p>
            <a:pPr marL="1543050" lvl="3" indent="-171450">
              <a:buFont typeface="Arial" panose="020B0604020202020204" pitchFamily="34" charset="0"/>
              <a:buChar char="•"/>
            </a:pPr>
            <a:endParaRPr lang="en-US" sz="1200" b="1" dirty="0">
              <a:solidFill>
                <a:srgbClr val="FF0000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1" dirty="0"/>
              <a:t>C</a:t>
            </a:r>
            <a:r>
              <a:rPr lang="en-US" sz="1200" b="1" dirty="0" smtClean="0"/>
              <a:t>ore</a:t>
            </a:r>
            <a:r>
              <a:rPr lang="en-US" sz="1200" dirty="0" smtClean="0"/>
              <a:t> module has the actual </a:t>
            </a:r>
            <a:r>
              <a:rPr lang="en-US" sz="1200" dirty="0"/>
              <a:t>source </a:t>
            </a:r>
            <a:r>
              <a:rPr lang="en-US" sz="1200" dirty="0" smtClean="0"/>
              <a:t>code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1" dirty="0" smtClean="0"/>
              <a:t>App</a:t>
            </a:r>
            <a:r>
              <a:rPr lang="en-US" sz="1200" dirty="0" smtClean="0"/>
              <a:t> module contains the first compiled output, which is </a:t>
            </a:r>
            <a:r>
              <a:rPr lang="en-US" sz="1200" dirty="0"/>
              <a:t>a </a:t>
            </a:r>
            <a:endParaRPr lang="en-US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deployable </a:t>
            </a:r>
            <a:r>
              <a:rPr lang="en-US" sz="1200" dirty="0"/>
              <a:t>achieve for WSO2 </a:t>
            </a:r>
            <a:r>
              <a:rPr lang="en-US" sz="1200" dirty="0" smtClean="0"/>
              <a:t>ESB runtime.(aka CAR fil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1" dirty="0" smtClean="0"/>
              <a:t>Dist</a:t>
            </a:r>
            <a:r>
              <a:rPr lang="en-US" sz="1200" dirty="0" smtClean="0"/>
              <a:t> module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US" sz="1200" dirty="0" smtClean="0"/>
              <a:t>reates the aggregated business domain ZIP </a:t>
            </a:r>
          </a:p>
          <a:p>
            <a:pPr lvl="1"/>
            <a:r>
              <a:rPr lang="en-US" sz="1200" dirty="0" smtClean="0"/>
              <a:t>	    file fmr-dp-</a:t>
            </a:r>
            <a:r>
              <a:rPr lang="en-US" sz="1200" dirty="0"/>
              <a:t>brkg</a:t>
            </a:r>
            <a:r>
              <a:rPr lang="en-US" sz="1200" dirty="0" smtClean="0"/>
              <a:t>-dist.zip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U</a:t>
            </a:r>
            <a:r>
              <a:rPr lang="en-US" sz="1200" dirty="0" smtClean="0"/>
              <a:t>se maven/assembly descriptors to package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Domain zip will contain the .CAR file/s and any JARs etc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And this zip file is a maven GAV that published into internal </a:t>
            </a:r>
          </a:p>
          <a:p>
            <a:pPr lvl="2"/>
            <a:r>
              <a:rPr lang="en-US" sz="1200" dirty="0"/>
              <a:t> </a:t>
            </a:r>
            <a:r>
              <a:rPr lang="en-US" sz="1200" dirty="0" smtClean="0"/>
              <a:t>   FMR nexus repo.</a:t>
            </a:r>
          </a:p>
          <a:p>
            <a:endParaRPr lang="en-US" sz="1200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21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3600" y="92761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iling and Packaging </a:t>
            </a:r>
            <a:r>
              <a:rPr lang="en-US" dirty="0" err="1" smtClean="0"/>
              <a:t>C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50529" y="1535628"/>
            <a:ext cx="5331716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Dist module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US" sz="1200" dirty="0" smtClean="0"/>
              <a:t>reates the aggregated business domain ZIP </a:t>
            </a:r>
          </a:p>
          <a:p>
            <a:pPr lvl="1"/>
            <a:r>
              <a:rPr lang="en-US" sz="1200" dirty="0" smtClean="0"/>
              <a:t>	    file fmr-dp-</a:t>
            </a:r>
            <a:r>
              <a:rPr lang="en-US" sz="1200" dirty="0"/>
              <a:t>brkg</a:t>
            </a:r>
            <a:r>
              <a:rPr lang="en-US" sz="1200" dirty="0" smtClean="0"/>
              <a:t>-dist-1.0.0.1.zip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U</a:t>
            </a:r>
            <a:r>
              <a:rPr lang="en-US" sz="1200" dirty="0" smtClean="0"/>
              <a:t>se maven/assembly descriptors to package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Domain zip will contain the .CAR file/s and any JARs etc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And this zip file is a maven GAV that published into internal </a:t>
            </a:r>
          </a:p>
          <a:p>
            <a:pPr lvl="2"/>
            <a:r>
              <a:rPr lang="en-US" sz="1200" dirty="0"/>
              <a:t> </a:t>
            </a:r>
            <a:r>
              <a:rPr lang="en-US" sz="1200" dirty="0" smtClean="0"/>
              <a:t>   FMR nexus repo.</a:t>
            </a:r>
          </a:p>
          <a:p>
            <a:pPr lvl="2"/>
            <a:endParaRPr lang="en-US" sz="1200" dirty="0"/>
          </a:p>
          <a:p>
            <a:pPr lvl="2"/>
            <a:endParaRPr lang="en-US" sz="1200" dirty="0" smtClean="0"/>
          </a:p>
          <a:p>
            <a:endParaRPr lang="en-US" sz="1200" b="1" dirty="0" smtClean="0">
              <a:solidFill>
                <a:srgbClr val="FF0000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751868" y="3091960"/>
            <a:ext cx="1599058" cy="775190"/>
          </a:xfrm>
          <a:prstGeom prst="roundRect">
            <a:avLst/>
          </a:prstGeom>
          <a:pattFill prst="pct5">
            <a:fgClr>
              <a:schemeClr val="lt1"/>
            </a:fgClr>
            <a:bgClr>
              <a:schemeClr val="bg1">
                <a:lumMod val="50000"/>
              </a:schemeClr>
            </a:bgClr>
          </a:patt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800">
                <a:effectLst/>
                <a:ea typeface="Calibri"/>
                <a:cs typeface="Times New Roman"/>
              </a:rPr>
              <a:t> </a:t>
            </a:r>
            <a:endParaRPr lang="en-US" sz="1100">
              <a:effectLst/>
              <a:ea typeface="Calibri"/>
              <a:cs typeface="Times New Roman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751232" y="3466610"/>
            <a:ext cx="878623" cy="350910"/>
          </a:xfrm>
          <a:prstGeom prst="roundRect">
            <a:avLst/>
          </a:prstGeom>
          <a:pattFill prst="pct5">
            <a:fgClr>
              <a:schemeClr val="lt1"/>
            </a:fgClr>
            <a:bgClr>
              <a:schemeClr val="bg1">
                <a:lumMod val="50000"/>
              </a:schemeClr>
            </a:bgClr>
          </a:patt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100">
                <a:effectLst/>
                <a:ea typeface="Calibri"/>
                <a:cs typeface="Times New Roman"/>
              </a:rPr>
              <a:t>CARs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911887" y="3123710"/>
            <a:ext cx="878623" cy="350910"/>
          </a:xfrm>
          <a:prstGeom prst="roundRect">
            <a:avLst/>
          </a:prstGeom>
          <a:pattFill prst="pct5">
            <a:fgClr>
              <a:schemeClr val="lt1"/>
            </a:fgClr>
            <a:bgClr>
              <a:schemeClr val="bg1">
                <a:lumMod val="50000"/>
              </a:schemeClr>
            </a:bgClr>
          </a:patt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100">
                <a:effectLst/>
                <a:ea typeface="Calibri"/>
                <a:cs typeface="Times New Roman"/>
              </a:rPr>
              <a:t>JAR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551397" y="3409950"/>
            <a:ext cx="733994" cy="350910"/>
          </a:xfrm>
          <a:prstGeom prst="roundRect">
            <a:avLst/>
          </a:prstGeom>
          <a:pattFill prst="pct5">
            <a:fgClr>
              <a:schemeClr val="lt1"/>
            </a:fgClr>
            <a:bgClr>
              <a:schemeClr val="bg1">
                <a:lumMod val="50000"/>
              </a:schemeClr>
            </a:bgClr>
          </a:patt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000">
                <a:effectLst/>
                <a:ea typeface="Calibri"/>
                <a:cs typeface="Times New Roman"/>
              </a:rPr>
              <a:t>Files</a:t>
            </a:r>
            <a:endParaRPr lang="en-US" sz="1100">
              <a:effectLst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331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3600" y="92761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iling and Packaging </a:t>
            </a:r>
            <a:r>
              <a:rPr lang="en-US" dirty="0" err="1" smtClean="0"/>
              <a:t>C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62000" y="1428750"/>
            <a:ext cx="4982454" cy="3785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Now we have a business domain zip file, available in nex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Now we come to final step of packag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Partition level packagin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Partition is a virtual representation of one or more </a:t>
            </a:r>
          </a:p>
          <a:p>
            <a:pPr lvl="2"/>
            <a:r>
              <a:rPr lang="en-US" sz="1200" dirty="0"/>
              <a:t> </a:t>
            </a:r>
            <a:r>
              <a:rPr lang="en-US" sz="1200" dirty="0" smtClean="0"/>
              <a:t>     domain distributions. </a:t>
            </a:r>
          </a:p>
          <a:p>
            <a:r>
              <a:rPr lang="en-US" sz="1200" b="1" dirty="0" smtClean="0">
                <a:solidFill>
                  <a:srgbClr val="FF0000"/>
                </a:solidFill>
              </a:rPr>
              <a:t>                            </a:t>
            </a:r>
          </a:p>
          <a:p>
            <a:r>
              <a:rPr lang="en-US" sz="1200" b="1" dirty="0" smtClean="0">
                <a:solidFill>
                  <a:srgbClr val="FF0000"/>
                </a:solidFill>
              </a:rPr>
              <a:t>                 </a:t>
            </a:r>
            <a:r>
              <a:rPr lang="en-US" sz="1200" dirty="0" smtClean="0"/>
              <a:t>Example: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	</a:t>
            </a:r>
            <a:r>
              <a:rPr lang="en-US" sz="1200" dirty="0" err="1" smtClean="0"/>
              <a:t>dp</a:t>
            </a:r>
            <a:r>
              <a:rPr lang="en-US" sz="1200" dirty="0" err="1"/>
              <a:t>brkg</a:t>
            </a:r>
            <a:r>
              <a:rPr lang="en-US" sz="1200" dirty="0" smtClean="0"/>
              <a:t>-partition folder contains following files</a:t>
            </a:r>
          </a:p>
          <a:p>
            <a:r>
              <a:rPr lang="en-US" sz="1200" dirty="0"/>
              <a:t>	 </a:t>
            </a:r>
            <a:r>
              <a:rPr lang="en-US" sz="1200" dirty="0" smtClean="0"/>
              <a:t>     - fmr-dp-brkg-dist-1.0.0.1.zip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      - wso2 </a:t>
            </a:r>
            <a:r>
              <a:rPr lang="en-US" sz="1200" dirty="0" err="1" smtClean="0"/>
              <a:t>esb</a:t>
            </a:r>
            <a:r>
              <a:rPr lang="en-US" sz="1200" dirty="0" smtClean="0"/>
              <a:t> runtime binary.zip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      - some other utility files	</a:t>
            </a:r>
          </a:p>
          <a:p>
            <a:r>
              <a:rPr lang="en-US" sz="1200" b="1" dirty="0" smtClean="0">
                <a:solidFill>
                  <a:srgbClr val="FF0000"/>
                </a:solidFill>
              </a:rPr>
              <a:t>                              </a:t>
            </a:r>
          </a:p>
          <a:p>
            <a:r>
              <a:rPr lang="en-US" sz="1200" b="1" dirty="0">
                <a:solidFill>
                  <a:srgbClr val="FF0000"/>
                </a:solidFill>
              </a:rPr>
              <a:t> </a:t>
            </a:r>
            <a:r>
              <a:rPr lang="en-US" sz="1200" b="1" dirty="0" smtClean="0">
                <a:solidFill>
                  <a:srgbClr val="FF0000"/>
                </a:solidFill>
              </a:rPr>
              <a:t>  </a:t>
            </a:r>
            <a:r>
              <a:rPr lang="en-US" sz="1200" dirty="0" smtClean="0"/>
              <a:t>NOTE</a:t>
            </a:r>
            <a:r>
              <a:rPr lang="en-US" sz="1200" b="1" dirty="0" smtClean="0"/>
              <a:t>: </a:t>
            </a:r>
            <a:r>
              <a:rPr lang="en-US" sz="1200" dirty="0" smtClean="0"/>
              <a:t>We append Jenkins build number to the maven version. 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So we know what exactly we are deploying. This also gives reliable </a:t>
            </a:r>
          </a:p>
          <a:p>
            <a:r>
              <a:rPr lang="en-US" sz="1200" dirty="0" smtClean="0"/>
              <a:t>   </a:t>
            </a:r>
            <a:r>
              <a:rPr lang="en-US" sz="1200" dirty="0" err="1" smtClean="0"/>
              <a:t>backouts</a:t>
            </a:r>
            <a:r>
              <a:rPr lang="en-US" sz="1200" dirty="0" smtClean="0"/>
              <a:t> to old versions in production incidents.</a:t>
            </a:r>
          </a:p>
          <a:p>
            <a:endParaRPr lang="en-US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And yes, </a:t>
            </a:r>
            <a:r>
              <a:rPr lang="en-US" sz="1200" dirty="0" err="1" smtClean="0"/>
              <a:t>dp</a:t>
            </a:r>
            <a:r>
              <a:rPr lang="en-US" sz="1200" dirty="0" err="1"/>
              <a:t>brkg</a:t>
            </a:r>
            <a:r>
              <a:rPr lang="en-US" sz="1200" dirty="0" smtClean="0"/>
              <a:t>-partition also uses maven assembly descriptors to </a:t>
            </a:r>
          </a:p>
          <a:p>
            <a:r>
              <a:rPr lang="en-US" sz="1200" dirty="0" smtClean="0"/>
              <a:t>    create the final ZIP file that get installed into the box.</a:t>
            </a:r>
            <a:endParaRPr lang="en-US" sz="1200" dirty="0"/>
          </a:p>
          <a:p>
            <a:endParaRPr lang="en-US" sz="1200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3600" y="92761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iling and Packaging </a:t>
            </a:r>
            <a:r>
              <a:rPr lang="en-US" dirty="0" err="1" smtClean="0"/>
              <a:t>Cnt</a:t>
            </a:r>
            <a:r>
              <a:rPr lang="en-US" dirty="0" smtClean="0"/>
              <a:t>.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1885950"/>
            <a:ext cx="2438400" cy="1140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447800" y="1501973"/>
            <a:ext cx="2521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nside a partition directory</a:t>
            </a:r>
            <a:endParaRPr lang="en-US" sz="1400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051" y="3409950"/>
            <a:ext cx="2419349" cy="1428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434207" y="3045421"/>
            <a:ext cx="41537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very partition directory inherits a master copy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7044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Build_and_Deployment_DP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7D110F-CC32-4C2A-B926-9321335ABEA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3600" y="92761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iling and Packaging </a:t>
            </a:r>
            <a:r>
              <a:rPr lang="en-US" dirty="0" err="1" smtClean="0"/>
              <a:t>Cn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19200" y="1501973"/>
            <a:ext cx="6779420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nside an aggregated partition ZIP file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build scripts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nzip the domain.zip and copy them to overrid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d</a:t>
            </a:r>
            <a:r>
              <a:rPr lang="en-US" sz="1400" dirty="0" smtClean="0"/>
              <a:t>ownload vendor app zip(wso2esb-4.8.0.zip) and unzip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nd copy other utility files into a directory structure that will be used </a:t>
            </a:r>
          </a:p>
          <a:p>
            <a:pPr lvl="2"/>
            <a:r>
              <a:rPr lang="en-US" sz="1400" dirty="0"/>
              <a:t> </a:t>
            </a:r>
            <a:r>
              <a:rPr lang="en-US" sz="1400" dirty="0" smtClean="0"/>
              <a:t>     by </a:t>
            </a:r>
            <a:r>
              <a:rPr lang="en-US" sz="1400" dirty="0" err="1" smtClean="0"/>
              <a:t>uDeploy</a:t>
            </a:r>
            <a:r>
              <a:rPr lang="en-US" sz="1400" dirty="0" smtClean="0"/>
              <a:t>/</a:t>
            </a:r>
            <a:r>
              <a:rPr lang="en-US" sz="1400" dirty="0" err="1" smtClean="0"/>
              <a:t>Docker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is the final ZIP that get downloaded by the </a:t>
            </a:r>
            <a:r>
              <a:rPr lang="en-US" sz="1400" dirty="0" err="1" smtClean="0"/>
              <a:t>IaaS</a:t>
            </a:r>
            <a:r>
              <a:rPr lang="en-US" sz="1400" dirty="0" smtClean="0"/>
              <a:t> platform to instal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nto the agents</a:t>
            </a:r>
            <a:endParaRPr lang="en-US" sz="1400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70" y="3409950"/>
            <a:ext cx="5569771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152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b41f5c330207eab7a178aaa4483f82633805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P template">
      <a:dk1>
        <a:sysClr val="windowText" lastClr="000000"/>
      </a:dk1>
      <a:lt1>
        <a:sysClr val="window" lastClr="FFFFFF"/>
      </a:lt1>
      <a:dk2>
        <a:srgbClr val="0081C6"/>
      </a:dk2>
      <a:lt2>
        <a:srgbClr val="8C8C8C"/>
      </a:lt2>
      <a:accent1>
        <a:srgbClr val="3C8A2E"/>
      </a:accent1>
      <a:accent2>
        <a:srgbClr val="73C045"/>
      </a:accent2>
      <a:accent3>
        <a:srgbClr val="C1E2E5"/>
      </a:accent3>
      <a:accent4>
        <a:srgbClr val="F47C27"/>
      </a:accent4>
      <a:accent5>
        <a:srgbClr val="F3AE72"/>
      </a:accent5>
      <a:accent6>
        <a:srgbClr val="0098DB"/>
      </a:accent6>
      <a:hlink>
        <a:srgbClr val="73BE44"/>
      </a:hlink>
      <a:folHlink>
        <a:srgbClr val="3C8A2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blank">
  <a:themeElements>
    <a:clrScheme name="blank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CP template">
      <a:dk1>
        <a:sysClr val="windowText" lastClr="000000"/>
      </a:dk1>
      <a:lt1>
        <a:sysClr val="window" lastClr="FFFFFF"/>
      </a:lt1>
      <a:dk2>
        <a:srgbClr val="0081C6"/>
      </a:dk2>
      <a:lt2>
        <a:srgbClr val="8C8C8C"/>
      </a:lt2>
      <a:accent1>
        <a:srgbClr val="3C8A2E"/>
      </a:accent1>
      <a:accent2>
        <a:srgbClr val="73C045"/>
      </a:accent2>
      <a:accent3>
        <a:srgbClr val="C1E2E5"/>
      </a:accent3>
      <a:accent4>
        <a:srgbClr val="F47C27"/>
      </a:accent4>
      <a:accent5>
        <a:srgbClr val="F3AE72"/>
      </a:accent5>
      <a:accent6>
        <a:srgbClr val="0098DB"/>
      </a:accent6>
      <a:hlink>
        <a:srgbClr val="73BE44"/>
      </a:hlink>
      <a:folHlink>
        <a:srgbClr val="3C8A2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VariableList UniqueId="1715bebd-4b70-4b90-a83c-7f65c97ac00b" Name="Computed" ContentType="XML" MajorVersion="0" MinorVersion="1" isLocalCopy="False" IsBaseObject="False" DataSourceId="d553355f-503a-4f95-a156-26541eb0abe5" DataSourceMajorVersion="0" DataSourceMinorVersion="1"/>
</file>

<file path=customXml/item2.xml><?xml version="1.0" encoding="utf-8"?>
<VariableListDefinition name="AD_HOC" displayName="AD_HOC" id="c4fb24ed-987e-44a2-8fbc-446f88404b34" isdomainofvalue="False" dataSourceId="f1822077-fee9-4fbb-b9fe-1e5a97cfc074"/>
</file>

<file path=customXml/item3.xml><?xml version="1.0" encoding="utf-8"?>
<VariableListDefinition name="Computed" displayName="Computed" id="1715bebd-4b70-4b90-a83c-7f65c97ac00b" isdomainofvalue="False" dataSourceId="d553355f-503a-4f95-a156-26541eb0abe5"/>
</file>

<file path=customXml/item4.xml><?xml version="1.0" encoding="utf-8"?>
<AllExternalAdhocVariableMappings/>
</file>

<file path=customXml/item5.xml><?xml version="1.0" encoding="utf-8"?>
<VariableList UniqueId="995216af-b3d8-41a9-8474-ee6e51250306" Name="System" ContentType="XML" MajorVersion="0" MinorVersion="1" isLocalCopy="False" IsBaseObject="False" DataSourceId="5a1699df-bb28-4081-a9ba-3a5233fee225" DataSourceMajorVersion="0" DataSourceMinorVersion="1"/>
</file>

<file path=customXml/item6.xml><?xml version="1.0" encoding="utf-8"?>
<VariableList UniqueId="c4fb24ed-987e-44a2-8fbc-446f88404b34" Name="AD_HOC" ContentType="XML" MajorVersion="0" MinorVersion="1" isLocalCopy="False" IsBaseObject="False" DataSourceId="f1822077-fee9-4fbb-b9fe-1e5a97cfc074" DataSourceMajorVersion="0" DataSourceMinorVersion="1"/>
</file>

<file path=customXml/item7.xml><?xml version="1.0" encoding="utf-8"?>
<VariableListDefinition name="System" displayName="System" id="995216af-b3d8-41a9-8474-ee6e51250306" isdomainofvalue="False" dataSourceId="5a1699df-bb28-4081-a9ba-3a5233fee225"/>
</file>

<file path=customXml/itemProps1.xml><?xml version="1.0" encoding="utf-8"?>
<ds:datastoreItem xmlns:ds="http://schemas.openxmlformats.org/officeDocument/2006/customXml" ds:itemID="{49577005-82B4-424B-87F6-CB215B91436E}">
  <ds:schemaRefs/>
</ds:datastoreItem>
</file>

<file path=customXml/itemProps2.xml><?xml version="1.0" encoding="utf-8"?>
<ds:datastoreItem xmlns:ds="http://schemas.openxmlformats.org/officeDocument/2006/customXml" ds:itemID="{0D15A737-4FAC-4626-808A-BF4DAB415EBB}">
  <ds:schemaRefs/>
</ds:datastoreItem>
</file>

<file path=customXml/itemProps3.xml><?xml version="1.0" encoding="utf-8"?>
<ds:datastoreItem xmlns:ds="http://schemas.openxmlformats.org/officeDocument/2006/customXml" ds:itemID="{7F1CE46B-B66B-41D8-9A1E-234229620F30}">
  <ds:schemaRefs/>
</ds:datastoreItem>
</file>

<file path=customXml/itemProps4.xml><?xml version="1.0" encoding="utf-8"?>
<ds:datastoreItem xmlns:ds="http://schemas.openxmlformats.org/officeDocument/2006/customXml" ds:itemID="{356748FE-7A22-42D2-84E3-0D2B4AAD2C46}">
  <ds:schemaRefs/>
</ds:datastoreItem>
</file>

<file path=customXml/itemProps5.xml><?xml version="1.0" encoding="utf-8"?>
<ds:datastoreItem xmlns:ds="http://schemas.openxmlformats.org/officeDocument/2006/customXml" ds:itemID="{B4CF4993-F9DD-4B7A-9B21-DF3ED4FE9F3C}">
  <ds:schemaRefs/>
</ds:datastoreItem>
</file>

<file path=customXml/itemProps6.xml><?xml version="1.0" encoding="utf-8"?>
<ds:datastoreItem xmlns:ds="http://schemas.openxmlformats.org/officeDocument/2006/customXml" ds:itemID="{3AE91ECE-3EE6-4A70-A7AA-344FB2C8D8F1}">
  <ds:schemaRefs/>
</ds:datastoreItem>
</file>

<file path=customXml/itemProps7.xml><?xml version="1.0" encoding="utf-8"?>
<ds:datastoreItem xmlns:ds="http://schemas.openxmlformats.org/officeDocument/2006/customXml" ds:itemID="{58596EDA-8996-4641-81C9-C1793316CC4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3192</TotalTime>
  <Words>322</Words>
  <Application>Microsoft Office PowerPoint</Application>
  <PresentationFormat>On-screen Show (16:9)</PresentationFormat>
  <Paragraphs>107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Office Theme</vt:lpstr>
      <vt:lpstr>blank</vt:lpstr>
      <vt:lpstr>38_Custom Design</vt:lpstr>
      <vt:lpstr>2_Office Theme</vt:lpstr>
      <vt:lpstr>think-cell Slide</vt:lpstr>
      <vt:lpstr>PowerPoint Presentation</vt:lpstr>
      <vt:lpstr>Build_and_Deployment_DP</vt:lpstr>
      <vt:lpstr>Build_and_Deployment_DP</vt:lpstr>
      <vt:lpstr>Build_and_Deployment_DP</vt:lpstr>
      <vt:lpstr>Build_and_Deployment_DP</vt:lpstr>
      <vt:lpstr>Build_and_Deployment_DP</vt:lpstr>
      <vt:lpstr>Build_and_Deployment_DP</vt:lpstr>
      <vt:lpstr>Build_and_Deployment_DP</vt:lpstr>
      <vt:lpstr>Build_and_Deployment_DP</vt:lpstr>
      <vt:lpstr>Build_and_Deployment_DP</vt:lpstr>
    </vt:vector>
  </TitlesOfParts>
  <Company>[Default]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--</dc:title>
  <dc:creator>Daly, Virginia</dc:creator>
  <cp:lastModifiedBy>Hewa Widana Gamage, Subash</cp:lastModifiedBy>
  <cp:revision>783</cp:revision>
  <cp:lastPrinted>2015-02-11T19:05:08Z</cp:lastPrinted>
  <dcterms:created xsi:type="dcterms:W3CDTF">2014-08-21T17:42:13Z</dcterms:created>
  <dcterms:modified xsi:type="dcterms:W3CDTF">2016-04-26T14:5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UniqueId">
    <vt:lpwstr>480283</vt:lpwstr>
  </property>
  <property fmtid="{D5CDD505-2E9C-101B-9397-08002B2CF9AE}" pid="3" name="Jive_LatestUserAccountName">
    <vt:lpwstr>a534957</vt:lpwstr>
  </property>
  <property fmtid="{D5CDD505-2E9C-101B-9397-08002B2CF9AE}" pid="4" name="Offisync_ProviderInitializationData">
    <vt:lpwstr>https://ribbit.fmr.com</vt:lpwstr>
  </property>
  <property fmtid="{D5CDD505-2E9C-101B-9397-08002B2CF9AE}" pid="5" name="Jive_VersionGuid">
    <vt:lpwstr>3a21bf13-e196-4445-a944-90584c72987e</vt:lpwstr>
  </property>
  <property fmtid="{D5CDD505-2E9C-101B-9397-08002B2CF9AE}" pid="6" name="Offisync_ServerID">
    <vt:lpwstr>b66ae4db-2d31-4d69-9e9c-43dcde94714b</vt:lpwstr>
  </property>
  <property fmtid="{D5CDD505-2E9C-101B-9397-08002B2CF9AE}" pid="7" name="Offisync_UpdateToken">
    <vt:lpwstr>5</vt:lpwstr>
  </property>
  <property fmtid="{D5CDD505-2E9C-101B-9397-08002B2CF9AE}" pid="8" name="Jive_ModifiedButNotPublished">
    <vt:lpwstr>True</vt:lpwstr>
  </property>
</Properties>
</file>